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sldIdLst>
    <p:sldId id="256" r:id="rId5"/>
    <p:sldId id="257" r:id="rId6"/>
    <p:sldId id="258" r:id="rId7"/>
    <p:sldId id="259" r:id="rId8"/>
    <p:sldId id="260" r:id="rId9"/>
    <p:sldId id="261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D3935"/>
    <a:srgbClr val="F2120C"/>
    <a:srgbClr val="3C1053"/>
    <a:srgbClr val="8C85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92" autoAdjust="0"/>
    <p:restoredTop sz="94694"/>
  </p:normalViewPr>
  <p:slideViewPr>
    <p:cSldViewPr snapToGrid="0">
      <p:cViewPr varScale="1">
        <p:scale>
          <a:sx n="121" d="100"/>
          <a:sy n="121" d="100"/>
        </p:scale>
        <p:origin x="752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461F1E-69EE-4332-9597-A36BDAAB5D20}" type="datetimeFigureOut">
              <a:rPr lang="en-AU" smtClean="0"/>
              <a:t>28/3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5E47F4-1BD2-49DB-85B4-3911D1C04A0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41826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5E47F4-1BD2-49DB-85B4-3911D1C04A0E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02383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4943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AutoShape 43"/>
          <p:cNvSpPr>
            <a:spLocks noChangeAspect="1" noChangeArrowheads="1" noTextEdit="1"/>
          </p:cNvSpPr>
          <p:nvPr userDrawn="1"/>
        </p:nvSpPr>
        <p:spPr bwMode="auto">
          <a:xfrm>
            <a:off x="-16932" y="-9526"/>
            <a:ext cx="12208932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itle 1"/>
          <p:cNvSpPr>
            <a:spLocks noGrp="1"/>
          </p:cNvSpPr>
          <p:nvPr>
            <p:ph type="title" hasCustomPrompt="1"/>
          </p:nvPr>
        </p:nvSpPr>
        <p:spPr>
          <a:xfrm>
            <a:off x="646881" y="1851742"/>
            <a:ext cx="5156200" cy="1869526"/>
          </a:xfrm>
        </p:spPr>
        <p:txBody>
          <a:bodyPr anchor="ctr">
            <a:noAutofit/>
          </a:bodyPr>
          <a:lstStyle>
            <a:lvl1pPr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18300" y="3048001"/>
            <a:ext cx="5156200" cy="1052514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CF2F3E-F432-4D45-A5B4-CAF3DC2C319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30414" y="6018114"/>
            <a:ext cx="2958073" cy="566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774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0" y="-9526"/>
            <a:ext cx="12192000" cy="68675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60140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Picture Placeholder 85"/>
          <p:cNvSpPr>
            <a:spLocks noGrp="1"/>
          </p:cNvSpPr>
          <p:nvPr>
            <p:ph type="pic" sz="quarter" idx="12"/>
          </p:nvPr>
        </p:nvSpPr>
        <p:spPr>
          <a:xfrm>
            <a:off x="0" y="-8193"/>
            <a:ext cx="12192000" cy="5817420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Drag picture to placeholder or click icon to add</a:t>
            </a:r>
            <a:endParaRPr lang="en-AU" dirty="0"/>
          </a:p>
        </p:txBody>
      </p:sp>
      <p:sp>
        <p:nvSpPr>
          <p:cNvPr id="8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300" y="5168646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803900"/>
            <a:ext cx="12192000" cy="1054100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584" y="769254"/>
            <a:ext cx="4250070" cy="2901985"/>
          </a:xfrm>
          <a:prstGeom prst="rect">
            <a:avLst/>
          </a:prstGeom>
        </p:spPr>
      </p:pic>
      <p:sp>
        <p:nvSpPr>
          <p:cNvPr id="50" name="Title 1"/>
          <p:cNvSpPr txBox="1">
            <a:spLocks/>
          </p:cNvSpPr>
          <p:nvPr userDrawn="1"/>
        </p:nvSpPr>
        <p:spPr>
          <a:xfrm>
            <a:off x="7673458" y="1046061"/>
            <a:ext cx="2977116" cy="23483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86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jor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387CD7-266D-7A4F-99D9-11652A135E1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30414" y="6018114"/>
            <a:ext cx="2958073" cy="566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7016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0" y="-9526"/>
            <a:ext cx="12192000" cy="68675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60140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Picture Placeholder 85"/>
          <p:cNvSpPr>
            <a:spLocks noGrp="1"/>
          </p:cNvSpPr>
          <p:nvPr>
            <p:ph type="pic" sz="quarter" idx="12"/>
          </p:nvPr>
        </p:nvSpPr>
        <p:spPr>
          <a:xfrm>
            <a:off x="6096000" y="-8193"/>
            <a:ext cx="6096000" cy="5817420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Drag picture to placeholder or click icon to add</a:t>
            </a:r>
            <a:endParaRPr lang="en-AU" dirty="0"/>
          </a:p>
        </p:txBody>
      </p:sp>
      <p:sp>
        <p:nvSpPr>
          <p:cNvPr id="8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300" y="5168646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803900"/>
            <a:ext cx="12192000" cy="1054100"/>
          </a:xfrm>
          <a:prstGeom prst="rect">
            <a:avLst/>
          </a:prstGeom>
        </p:spPr>
      </p:pic>
      <p:sp>
        <p:nvSpPr>
          <p:cNvPr id="10" name="Picture Placeholder 85"/>
          <p:cNvSpPr>
            <a:spLocks noGrp="1"/>
          </p:cNvSpPr>
          <p:nvPr>
            <p:ph type="pic" sz="quarter" idx="13"/>
          </p:nvPr>
        </p:nvSpPr>
        <p:spPr>
          <a:xfrm>
            <a:off x="0" y="-8193"/>
            <a:ext cx="6096000" cy="5817420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Drag picture to placeholder or click icon to add</a:t>
            </a:r>
            <a:endParaRPr lang="en-AU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alphaModFix amt="9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484" y="161391"/>
            <a:ext cx="5897526" cy="3848136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6075991" y="893661"/>
            <a:ext cx="4253023" cy="2348369"/>
          </a:xfrm>
        </p:spPr>
        <p:txBody>
          <a:bodyPr anchor="ctr">
            <a:normAutofit/>
          </a:bodyPr>
          <a:lstStyle>
            <a:lvl1pPr algn="l">
              <a:defRPr sz="386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jor Heading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376BF8C-A83F-5846-8227-8F956C02BF2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30414" y="6018114"/>
            <a:ext cx="2958073" cy="566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097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828" y="1117170"/>
            <a:ext cx="10989655" cy="501419"/>
          </a:xfrm>
        </p:spPr>
        <p:txBody>
          <a:bodyPr wrap="square">
            <a:spAutoFit/>
          </a:bodyPr>
          <a:lstStyle>
            <a:lvl1pPr>
              <a:defRPr sz="2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1871028"/>
            <a:ext cx="10997848" cy="3916953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16" hasCustomPrompt="1"/>
          </p:nvPr>
        </p:nvSpPr>
        <p:spPr>
          <a:xfrm>
            <a:off x="587829" y="-8733"/>
            <a:ext cx="5791199" cy="462758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heading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2718792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1055918"/>
            <a:ext cx="10989655" cy="501419"/>
          </a:xfrm>
        </p:spPr>
        <p:txBody>
          <a:bodyPr wrap="square">
            <a:spAutoFit/>
          </a:bodyPr>
          <a:lstStyle>
            <a:lvl1pPr>
              <a:defRPr sz="2900" b="1">
                <a:solidFill>
                  <a:srgbClr val="3C10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5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654792"/>
            <a:ext cx="10989655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C10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989654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49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989655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3208934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830367" y="1844985"/>
            <a:ext cx="5156200" cy="402356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AU" dirty="0"/>
              <a:t>Click to edit Master text styles</a:t>
            </a:r>
          </a:p>
          <a:p>
            <a:pPr lvl="1"/>
            <a:r>
              <a:rPr lang="en-AU" dirty="0"/>
              <a:t>Second level</a:t>
            </a:r>
          </a:p>
          <a:p>
            <a:pPr lvl="2"/>
            <a:r>
              <a:rPr lang="en-AU" dirty="0"/>
              <a:t>Third level</a:t>
            </a:r>
          </a:p>
          <a:p>
            <a:pPr lvl="3"/>
            <a:r>
              <a:rPr lang="en-AU" dirty="0"/>
              <a:t>Fourth level</a:t>
            </a:r>
          </a:p>
          <a:p>
            <a:pPr lvl="4"/>
            <a:r>
              <a:rPr lang="en-AU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/>
          </p:nvPr>
        </p:nvSpPr>
        <p:spPr>
          <a:xfrm>
            <a:off x="6162250" y="1842417"/>
            <a:ext cx="5156200" cy="402613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AU" dirty="0"/>
              <a:t>Click to edit Master text styles</a:t>
            </a:r>
          </a:p>
          <a:p>
            <a:pPr lvl="1"/>
            <a:r>
              <a:rPr lang="en-AU" dirty="0"/>
              <a:t>Second level</a:t>
            </a:r>
          </a:p>
          <a:p>
            <a:pPr lvl="2"/>
            <a:r>
              <a:rPr lang="en-AU" dirty="0"/>
              <a:t>Third level</a:t>
            </a:r>
          </a:p>
          <a:p>
            <a:pPr lvl="3"/>
            <a:r>
              <a:rPr lang="en-AU" dirty="0"/>
              <a:t>Fourth level</a:t>
            </a:r>
          </a:p>
          <a:p>
            <a:pPr lvl="4"/>
            <a:r>
              <a:rPr lang="en-AU" dirty="0"/>
              <a:t>Fifth level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5921" y="1097509"/>
            <a:ext cx="9588284" cy="501419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C10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128958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0019" y="1817603"/>
            <a:ext cx="10515600" cy="4070577"/>
          </a:xfrm>
        </p:spPr>
        <p:txBody>
          <a:bodyPr vert="eaVert"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A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49022"/>
            <a:ext cx="9588284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3406363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92000" cy="687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0" y="-5945"/>
            <a:ext cx="6574012" cy="488754"/>
          </a:xfrm>
          <a:custGeom>
            <a:avLst/>
            <a:gdLst>
              <a:gd name="T0" fmla="*/ 0 w 3672"/>
              <a:gd name="T1" fmla="*/ 0 h 273"/>
              <a:gd name="T2" fmla="*/ 0 w 3672"/>
              <a:gd name="T3" fmla="*/ 273 h 273"/>
              <a:gd name="T4" fmla="*/ 3405 w 3672"/>
              <a:gd name="T5" fmla="*/ 273 h 273"/>
              <a:gd name="T6" fmla="*/ 3672 w 3672"/>
              <a:gd name="T7" fmla="*/ 0 h 273"/>
              <a:gd name="T8" fmla="*/ 0 w 3672"/>
              <a:gd name="T9" fmla="*/ 0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72" h="273">
                <a:moveTo>
                  <a:pt x="0" y="0"/>
                </a:moveTo>
                <a:lnTo>
                  <a:pt x="0" y="273"/>
                </a:lnTo>
                <a:lnTo>
                  <a:pt x="3405" y="273"/>
                </a:lnTo>
                <a:lnTo>
                  <a:pt x="367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6096000" y="6380085"/>
            <a:ext cx="6096000" cy="483383"/>
          </a:xfrm>
          <a:custGeom>
            <a:avLst/>
            <a:gdLst>
              <a:gd name="T0" fmla="*/ 3405 w 3405"/>
              <a:gd name="T1" fmla="*/ 270 h 270"/>
              <a:gd name="T2" fmla="*/ 3405 w 3405"/>
              <a:gd name="T3" fmla="*/ 0 h 270"/>
              <a:gd name="T4" fmla="*/ 267 w 3405"/>
              <a:gd name="T5" fmla="*/ 0 h 270"/>
              <a:gd name="T6" fmla="*/ 0 w 3405"/>
              <a:gd name="T7" fmla="*/ 270 h 270"/>
              <a:gd name="T8" fmla="*/ 3405 w 3405"/>
              <a:gd name="T9" fmla="*/ 27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05" h="270">
                <a:moveTo>
                  <a:pt x="3405" y="270"/>
                </a:moveTo>
                <a:lnTo>
                  <a:pt x="3405" y="0"/>
                </a:lnTo>
                <a:lnTo>
                  <a:pt x="267" y="0"/>
                </a:lnTo>
                <a:lnTo>
                  <a:pt x="0" y="270"/>
                </a:lnTo>
                <a:lnTo>
                  <a:pt x="3405" y="2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1117170"/>
            <a:ext cx="9588284" cy="501419"/>
          </a:xfrm>
        </p:spPr>
        <p:txBody>
          <a:bodyPr>
            <a:spAutoFit/>
          </a:bodyPr>
          <a:lstStyle>
            <a:lvl1pPr>
              <a:defRPr sz="2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5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1871028"/>
            <a:ext cx="10517717" cy="3916953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092" y="2147"/>
            <a:ext cx="6870138" cy="6230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8" name="Rectangle 17"/>
          <p:cNvSpPr/>
          <p:nvPr userDrawn="1"/>
        </p:nvSpPr>
        <p:spPr>
          <a:xfrm>
            <a:off x="5761528" y="6229968"/>
            <a:ext cx="6422379" cy="6230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268227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ith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92000" cy="687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0" y="-5945"/>
            <a:ext cx="6574012" cy="488754"/>
          </a:xfrm>
          <a:custGeom>
            <a:avLst/>
            <a:gdLst>
              <a:gd name="T0" fmla="*/ 0 w 3672"/>
              <a:gd name="T1" fmla="*/ 0 h 273"/>
              <a:gd name="T2" fmla="*/ 0 w 3672"/>
              <a:gd name="T3" fmla="*/ 273 h 273"/>
              <a:gd name="T4" fmla="*/ 3405 w 3672"/>
              <a:gd name="T5" fmla="*/ 273 h 273"/>
              <a:gd name="T6" fmla="*/ 3672 w 3672"/>
              <a:gd name="T7" fmla="*/ 0 h 273"/>
              <a:gd name="T8" fmla="*/ 0 w 3672"/>
              <a:gd name="T9" fmla="*/ 0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72" h="273">
                <a:moveTo>
                  <a:pt x="0" y="0"/>
                </a:moveTo>
                <a:lnTo>
                  <a:pt x="0" y="273"/>
                </a:lnTo>
                <a:lnTo>
                  <a:pt x="3405" y="273"/>
                </a:lnTo>
                <a:lnTo>
                  <a:pt x="367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6096000" y="6380085"/>
            <a:ext cx="6096000" cy="483383"/>
          </a:xfrm>
          <a:custGeom>
            <a:avLst/>
            <a:gdLst>
              <a:gd name="T0" fmla="*/ 3405 w 3405"/>
              <a:gd name="T1" fmla="*/ 270 h 270"/>
              <a:gd name="T2" fmla="*/ 3405 w 3405"/>
              <a:gd name="T3" fmla="*/ 0 h 270"/>
              <a:gd name="T4" fmla="*/ 267 w 3405"/>
              <a:gd name="T5" fmla="*/ 0 h 270"/>
              <a:gd name="T6" fmla="*/ 0 w 3405"/>
              <a:gd name="T7" fmla="*/ 270 h 270"/>
              <a:gd name="T8" fmla="*/ 3405 w 3405"/>
              <a:gd name="T9" fmla="*/ 27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05" h="270">
                <a:moveTo>
                  <a:pt x="3405" y="270"/>
                </a:moveTo>
                <a:lnTo>
                  <a:pt x="3405" y="0"/>
                </a:lnTo>
                <a:lnTo>
                  <a:pt x="267" y="0"/>
                </a:lnTo>
                <a:lnTo>
                  <a:pt x="0" y="270"/>
                </a:lnTo>
                <a:lnTo>
                  <a:pt x="3405" y="2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auto">
          <a:xfrm>
            <a:off x="10423175" y="359278"/>
            <a:ext cx="295401" cy="381336"/>
          </a:xfrm>
          <a:custGeom>
            <a:avLst/>
            <a:gdLst>
              <a:gd name="T0" fmla="*/ 70 w 70"/>
              <a:gd name="T1" fmla="*/ 0 h 90"/>
              <a:gd name="T2" fmla="*/ 70 w 70"/>
              <a:gd name="T3" fmla="*/ 40 h 90"/>
              <a:gd name="T4" fmla="*/ 35 w 70"/>
              <a:gd name="T5" fmla="*/ 90 h 90"/>
              <a:gd name="T6" fmla="*/ 0 w 70"/>
              <a:gd name="T7" fmla="*/ 40 h 90"/>
              <a:gd name="T8" fmla="*/ 0 w 70"/>
              <a:gd name="T9" fmla="*/ 0 h 90"/>
              <a:gd name="T10" fmla="*/ 70 w 70"/>
              <a:gd name="T11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0" h="90">
                <a:moveTo>
                  <a:pt x="70" y="0"/>
                </a:moveTo>
                <a:cubicBezTo>
                  <a:pt x="70" y="40"/>
                  <a:pt x="70" y="40"/>
                  <a:pt x="70" y="40"/>
                </a:cubicBezTo>
                <a:cubicBezTo>
                  <a:pt x="70" y="60"/>
                  <a:pt x="57" y="82"/>
                  <a:pt x="35" y="90"/>
                </a:cubicBezTo>
                <a:cubicBezTo>
                  <a:pt x="13" y="82"/>
                  <a:pt x="0" y="6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70" y="0"/>
                  <a:pt x="70" y="0"/>
                  <a:pt x="70" y="0"/>
                </a:cubicBez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auto">
          <a:xfrm>
            <a:off x="10476885" y="405826"/>
            <a:ext cx="186192" cy="245272"/>
          </a:xfrm>
          <a:custGeom>
            <a:avLst/>
            <a:gdLst>
              <a:gd name="T0" fmla="*/ 0 w 104"/>
              <a:gd name="T1" fmla="*/ 69 h 137"/>
              <a:gd name="T2" fmla="*/ 52 w 104"/>
              <a:gd name="T3" fmla="*/ 0 h 137"/>
              <a:gd name="T4" fmla="*/ 104 w 104"/>
              <a:gd name="T5" fmla="*/ 69 h 137"/>
              <a:gd name="T6" fmla="*/ 52 w 104"/>
              <a:gd name="T7" fmla="*/ 137 h 137"/>
              <a:gd name="T8" fmla="*/ 0 w 104"/>
              <a:gd name="T9" fmla="*/ 69 h 137"/>
              <a:gd name="T10" fmla="*/ 0 w 104"/>
              <a:gd name="T11" fmla="*/ 69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" h="137">
                <a:moveTo>
                  <a:pt x="0" y="69"/>
                </a:moveTo>
                <a:lnTo>
                  <a:pt x="52" y="0"/>
                </a:lnTo>
                <a:lnTo>
                  <a:pt x="104" y="69"/>
                </a:lnTo>
                <a:lnTo>
                  <a:pt x="52" y="137"/>
                </a:lnTo>
                <a:lnTo>
                  <a:pt x="0" y="69"/>
                </a:lnTo>
                <a:lnTo>
                  <a:pt x="0" y="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auto">
          <a:xfrm>
            <a:off x="10503739" y="455954"/>
            <a:ext cx="134273" cy="161128"/>
          </a:xfrm>
          <a:custGeom>
            <a:avLst/>
            <a:gdLst>
              <a:gd name="T0" fmla="*/ 14 w 32"/>
              <a:gd name="T1" fmla="*/ 21 h 38"/>
              <a:gd name="T2" fmla="*/ 16 w 32"/>
              <a:gd name="T3" fmla="*/ 38 h 38"/>
              <a:gd name="T4" fmla="*/ 16 w 32"/>
              <a:gd name="T5" fmla="*/ 38 h 38"/>
              <a:gd name="T6" fmla="*/ 16 w 32"/>
              <a:gd name="T7" fmla="*/ 38 h 38"/>
              <a:gd name="T8" fmla="*/ 18 w 32"/>
              <a:gd name="T9" fmla="*/ 21 h 38"/>
              <a:gd name="T10" fmla="*/ 18 w 32"/>
              <a:gd name="T11" fmla="*/ 19 h 38"/>
              <a:gd name="T12" fmla="*/ 25 w 32"/>
              <a:gd name="T13" fmla="*/ 19 h 38"/>
              <a:gd name="T14" fmla="*/ 25 w 32"/>
              <a:gd name="T15" fmla="*/ 20 h 38"/>
              <a:gd name="T16" fmla="*/ 27 w 32"/>
              <a:gd name="T17" fmla="*/ 22 h 38"/>
              <a:gd name="T18" fmla="*/ 29 w 32"/>
              <a:gd name="T19" fmla="*/ 20 h 38"/>
              <a:gd name="T20" fmla="*/ 29 w 32"/>
              <a:gd name="T21" fmla="*/ 19 h 38"/>
              <a:gd name="T22" fmla="*/ 29 w 32"/>
              <a:gd name="T23" fmla="*/ 19 h 38"/>
              <a:gd name="T24" fmla="*/ 32 w 32"/>
              <a:gd name="T25" fmla="*/ 17 h 38"/>
              <a:gd name="T26" fmla="*/ 29 w 32"/>
              <a:gd name="T27" fmla="*/ 15 h 38"/>
              <a:gd name="T28" fmla="*/ 29 w 32"/>
              <a:gd name="T29" fmla="*/ 15 h 38"/>
              <a:gd name="T30" fmla="*/ 29 w 32"/>
              <a:gd name="T31" fmla="*/ 14 h 38"/>
              <a:gd name="T32" fmla="*/ 27 w 32"/>
              <a:gd name="T33" fmla="*/ 12 h 38"/>
              <a:gd name="T34" fmla="*/ 25 w 32"/>
              <a:gd name="T35" fmla="*/ 14 h 38"/>
              <a:gd name="T36" fmla="*/ 25 w 32"/>
              <a:gd name="T37" fmla="*/ 15 h 38"/>
              <a:gd name="T38" fmla="*/ 18 w 32"/>
              <a:gd name="T39" fmla="*/ 15 h 38"/>
              <a:gd name="T40" fmla="*/ 18 w 32"/>
              <a:gd name="T41" fmla="*/ 7 h 38"/>
              <a:gd name="T42" fmla="*/ 19 w 32"/>
              <a:gd name="T43" fmla="*/ 7 h 38"/>
              <a:gd name="T44" fmla="*/ 21 w 32"/>
              <a:gd name="T45" fmla="*/ 5 h 38"/>
              <a:gd name="T46" fmla="*/ 19 w 32"/>
              <a:gd name="T47" fmla="*/ 3 h 38"/>
              <a:gd name="T48" fmla="*/ 18 w 32"/>
              <a:gd name="T49" fmla="*/ 3 h 38"/>
              <a:gd name="T50" fmla="*/ 18 w 32"/>
              <a:gd name="T51" fmla="*/ 3 h 38"/>
              <a:gd name="T52" fmla="*/ 16 w 32"/>
              <a:gd name="T53" fmla="*/ 0 h 38"/>
              <a:gd name="T54" fmla="*/ 14 w 32"/>
              <a:gd name="T55" fmla="*/ 3 h 38"/>
              <a:gd name="T56" fmla="*/ 14 w 32"/>
              <a:gd name="T57" fmla="*/ 3 h 38"/>
              <a:gd name="T58" fmla="*/ 14 w 32"/>
              <a:gd name="T59" fmla="*/ 3 h 38"/>
              <a:gd name="T60" fmla="*/ 11 w 32"/>
              <a:gd name="T61" fmla="*/ 5 h 38"/>
              <a:gd name="T62" fmla="*/ 14 w 32"/>
              <a:gd name="T63" fmla="*/ 7 h 38"/>
              <a:gd name="T64" fmla="*/ 14 w 32"/>
              <a:gd name="T65" fmla="*/ 7 h 38"/>
              <a:gd name="T66" fmla="*/ 14 w 32"/>
              <a:gd name="T67" fmla="*/ 15 h 38"/>
              <a:gd name="T68" fmla="*/ 14 w 32"/>
              <a:gd name="T69" fmla="*/ 15 h 38"/>
              <a:gd name="T70" fmla="*/ 7 w 32"/>
              <a:gd name="T71" fmla="*/ 15 h 38"/>
              <a:gd name="T72" fmla="*/ 7 w 32"/>
              <a:gd name="T73" fmla="*/ 14 h 38"/>
              <a:gd name="T74" fmla="*/ 5 w 32"/>
              <a:gd name="T75" fmla="*/ 12 h 38"/>
              <a:gd name="T76" fmla="*/ 3 w 32"/>
              <a:gd name="T77" fmla="*/ 14 h 38"/>
              <a:gd name="T78" fmla="*/ 3 w 32"/>
              <a:gd name="T79" fmla="*/ 15 h 38"/>
              <a:gd name="T80" fmla="*/ 3 w 32"/>
              <a:gd name="T81" fmla="*/ 15 h 38"/>
              <a:gd name="T82" fmla="*/ 0 w 32"/>
              <a:gd name="T83" fmla="*/ 17 h 38"/>
              <a:gd name="T84" fmla="*/ 3 w 32"/>
              <a:gd name="T85" fmla="*/ 19 h 38"/>
              <a:gd name="T86" fmla="*/ 3 w 32"/>
              <a:gd name="T87" fmla="*/ 19 h 38"/>
              <a:gd name="T88" fmla="*/ 3 w 32"/>
              <a:gd name="T89" fmla="*/ 20 h 38"/>
              <a:gd name="T90" fmla="*/ 5 w 32"/>
              <a:gd name="T91" fmla="*/ 22 h 38"/>
              <a:gd name="T92" fmla="*/ 7 w 32"/>
              <a:gd name="T93" fmla="*/ 20 h 38"/>
              <a:gd name="T94" fmla="*/ 7 w 32"/>
              <a:gd name="T95" fmla="*/ 19 h 38"/>
              <a:gd name="T96" fmla="*/ 14 w 32"/>
              <a:gd name="T97" fmla="*/ 19 h 38"/>
              <a:gd name="T98" fmla="*/ 14 w 32"/>
              <a:gd name="T99" fmla="*/ 21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2" h="38">
                <a:moveTo>
                  <a:pt x="14" y="21"/>
                </a:moveTo>
                <a:cubicBezTo>
                  <a:pt x="14" y="28"/>
                  <a:pt x="16" y="37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7"/>
                  <a:pt x="18" y="28"/>
                  <a:pt x="18" y="21"/>
                </a:cubicBezTo>
                <a:cubicBezTo>
                  <a:pt x="18" y="19"/>
                  <a:pt x="18" y="19"/>
                  <a:pt x="18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20"/>
                  <a:pt x="25" y="20"/>
                  <a:pt x="25" y="20"/>
                </a:cubicBezTo>
                <a:cubicBezTo>
                  <a:pt x="25" y="21"/>
                  <a:pt x="26" y="22"/>
                  <a:pt x="27" y="22"/>
                </a:cubicBezTo>
                <a:cubicBezTo>
                  <a:pt x="28" y="22"/>
                  <a:pt x="29" y="21"/>
                  <a:pt x="29" y="20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30" y="19"/>
                  <a:pt x="32" y="18"/>
                  <a:pt x="32" y="17"/>
                </a:cubicBezTo>
                <a:cubicBezTo>
                  <a:pt x="32" y="16"/>
                  <a:pt x="30" y="15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29" y="14"/>
                  <a:pt x="29" y="14"/>
                  <a:pt x="29" y="14"/>
                </a:cubicBezTo>
                <a:cubicBezTo>
                  <a:pt x="29" y="13"/>
                  <a:pt x="28" y="12"/>
                  <a:pt x="27" y="12"/>
                </a:cubicBezTo>
                <a:cubicBezTo>
                  <a:pt x="26" y="12"/>
                  <a:pt x="25" y="13"/>
                  <a:pt x="25" y="14"/>
                </a:cubicBezTo>
                <a:cubicBezTo>
                  <a:pt x="25" y="15"/>
                  <a:pt x="25" y="15"/>
                  <a:pt x="25" y="15"/>
                </a:cubicBezTo>
                <a:cubicBezTo>
                  <a:pt x="18" y="15"/>
                  <a:pt x="18" y="15"/>
                  <a:pt x="18" y="15"/>
                </a:cubicBezTo>
                <a:cubicBezTo>
                  <a:pt x="18" y="7"/>
                  <a:pt x="18" y="7"/>
                  <a:pt x="18" y="7"/>
                </a:cubicBezTo>
                <a:cubicBezTo>
                  <a:pt x="19" y="7"/>
                  <a:pt x="19" y="7"/>
                  <a:pt x="19" y="7"/>
                </a:cubicBezTo>
                <a:cubicBezTo>
                  <a:pt x="20" y="7"/>
                  <a:pt x="21" y="6"/>
                  <a:pt x="21" y="5"/>
                </a:cubicBezTo>
                <a:cubicBezTo>
                  <a:pt x="21" y="4"/>
                  <a:pt x="20" y="3"/>
                  <a:pt x="19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2"/>
                  <a:pt x="17" y="0"/>
                  <a:pt x="16" y="0"/>
                </a:cubicBezTo>
                <a:cubicBezTo>
                  <a:pt x="15" y="0"/>
                  <a:pt x="14" y="2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2" y="3"/>
                  <a:pt x="11" y="4"/>
                  <a:pt x="11" y="5"/>
                </a:cubicBezTo>
                <a:cubicBezTo>
                  <a:pt x="11" y="6"/>
                  <a:pt x="12" y="7"/>
                  <a:pt x="14" y="7"/>
                </a:cubicBezTo>
                <a:cubicBezTo>
                  <a:pt x="14" y="7"/>
                  <a:pt x="14" y="7"/>
                  <a:pt x="14" y="7"/>
                </a:cubicBezTo>
                <a:cubicBezTo>
                  <a:pt x="14" y="15"/>
                  <a:pt x="14" y="15"/>
                  <a:pt x="14" y="15"/>
                </a:cubicBezTo>
                <a:cubicBezTo>
                  <a:pt x="14" y="15"/>
                  <a:pt x="14" y="15"/>
                  <a:pt x="1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4"/>
                  <a:pt x="7" y="14"/>
                  <a:pt x="7" y="14"/>
                </a:cubicBezTo>
                <a:cubicBezTo>
                  <a:pt x="7" y="13"/>
                  <a:pt x="7" y="12"/>
                  <a:pt x="5" y="12"/>
                </a:cubicBezTo>
                <a:cubicBezTo>
                  <a:pt x="4" y="12"/>
                  <a:pt x="3" y="13"/>
                  <a:pt x="3" y="14"/>
                </a:cubicBezTo>
                <a:cubicBezTo>
                  <a:pt x="3" y="15"/>
                  <a:pt x="3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6"/>
                  <a:pt x="0" y="17"/>
                </a:cubicBezTo>
                <a:cubicBezTo>
                  <a:pt x="0" y="18"/>
                  <a:pt x="2" y="19"/>
                  <a:pt x="3" y="19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20"/>
                  <a:pt x="3" y="20"/>
                  <a:pt x="3" y="20"/>
                </a:cubicBezTo>
                <a:cubicBezTo>
                  <a:pt x="3" y="21"/>
                  <a:pt x="4" y="22"/>
                  <a:pt x="5" y="22"/>
                </a:cubicBezTo>
                <a:cubicBezTo>
                  <a:pt x="7" y="22"/>
                  <a:pt x="7" y="21"/>
                  <a:pt x="7" y="20"/>
                </a:cubicBezTo>
                <a:cubicBezTo>
                  <a:pt x="7" y="19"/>
                  <a:pt x="7" y="19"/>
                  <a:pt x="7" y="19"/>
                </a:cubicBezTo>
                <a:cubicBezTo>
                  <a:pt x="14" y="19"/>
                  <a:pt x="14" y="19"/>
                  <a:pt x="14" y="19"/>
                </a:cubicBezTo>
                <a:cubicBezTo>
                  <a:pt x="14" y="21"/>
                  <a:pt x="14" y="21"/>
                  <a:pt x="14" y="21"/>
                </a:cubicBez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Freeform 39"/>
          <p:cNvSpPr>
            <a:spLocks/>
          </p:cNvSpPr>
          <p:nvPr userDrawn="1"/>
        </p:nvSpPr>
        <p:spPr bwMode="auto">
          <a:xfrm>
            <a:off x="11534957" y="359278"/>
            <a:ext cx="297191" cy="377755"/>
          </a:xfrm>
          <a:custGeom>
            <a:avLst/>
            <a:gdLst>
              <a:gd name="T0" fmla="*/ 70 w 70"/>
              <a:gd name="T1" fmla="*/ 0 h 89"/>
              <a:gd name="T2" fmla="*/ 70 w 70"/>
              <a:gd name="T3" fmla="*/ 55 h 89"/>
              <a:gd name="T4" fmla="*/ 37 w 70"/>
              <a:gd name="T5" fmla="*/ 89 h 89"/>
              <a:gd name="T6" fmla="*/ 0 w 70"/>
              <a:gd name="T7" fmla="*/ 55 h 89"/>
              <a:gd name="T8" fmla="*/ 0 w 70"/>
              <a:gd name="T9" fmla="*/ 0 h 89"/>
              <a:gd name="T10" fmla="*/ 16 w 70"/>
              <a:gd name="T11" fmla="*/ 0 h 89"/>
              <a:gd name="T12" fmla="*/ 16 w 70"/>
              <a:gd name="T13" fmla="*/ 56 h 89"/>
              <a:gd name="T14" fmla="*/ 38 w 70"/>
              <a:gd name="T15" fmla="*/ 81 h 89"/>
              <a:gd name="T16" fmla="*/ 60 w 70"/>
              <a:gd name="T17" fmla="*/ 56 h 89"/>
              <a:gd name="T18" fmla="*/ 60 w 70"/>
              <a:gd name="T19" fmla="*/ 0 h 89"/>
              <a:gd name="T20" fmla="*/ 70 w 70"/>
              <a:gd name="T21" fmla="*/ 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0" h="89">
                <a:moveTo>
                  <a:pt x="70" y="0"/>
                </a:moveTo>
                <a:cubicBezTo>
                  <a:pt x="70" y="55"/>
                  <a:pt x="70" y="55"/>
                  <a:pt x="70" y="55"/>
                </a:cubicBezTo>
                <a:cubicBezTo>
                  <a:pt x="70" y="84"/>
                  <a:pt x="47" y="89"/>
                  <a:pt x="37" y="89"/>
                </a:cubicBezTo>
                <a:cubicBezTo>
                  <a:pt x="19" y="89"/>
                  <a:pt x="0" y="83"/>
                  <a:pt x="0" y="55"/>
                </a:cubicBezTo>
                <a:cubicBezTo>
                  <a:pt x="0" y="0"/>
                  <a:pt x="0" y="0"/>
                  <a:pt x="0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6"/>
                  <a:pt x="16" y="56"/>
                  <a:pt x="16" y="56"/>
                </a:cubicBezTo>
                <a:cubicBezTo>
                  <a:pt x="16" y="72"/>
                  <a:pt x="24" y="81"/>
                  <a:pt x="38" y="81"/>
                </a:cubicBezTo>
                <a:cubicBezTo>
                  <a:pt x="50" y="81"/>
                  <a:pt x="60" y="73"/>
                  <a:pt x="60" y="56"/>
                </a:cubicBezTo>
                <a:cubicBezTo>
                  <a:pt x="60" y="0"/>
                  <a:pt x="60" y="0"/>
                  <a:pt x="60" y="0"/>
                </a:cubicBezTo>
                <a:cubicBezTo>
                  <a:pt x="70" y="0"/>
                  <a:pt x="70" y="0"/>
                  <a:pt x="70" y="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Freeform 40"/>
          <p:cNvSpPr>
            <a:spLocks/>
          </p:cNvSpPr>
          <p:nvPr userDrawn="1"/>
        </p:nvSpPr>
        <p:spPr bwMode="auto">
          <a:xfrm>
            <a:off x="11133928" y="355697"/>
            <a:ext cx="347320" cy="381336"/>
          </a:xfrm>
          <a:custGeom>
            <a:avLst/>
            <a:gdLst>
              <a:gd name="T0" fmla="*/ 47 w 82"/>
              <a:gd name="T1" fmla="*/ 90 h 90"/>
              <a:gd name="T2" fmla="*/ 0 w 82"/>
              <a:gd name="T3" fmla="*/ 46 h 90"/>
              <a:gd name="T4" fmla="*/ 49 w 82"/>
              <a:gd name="T5" fmla="*/ 0 h 90"/>
              <a:gd name="T6" fmla="*/ 75 w 82"/>
              <a:gd name="T7" fmla="*/ 10 h 90"/>
              <a:gd name="T8" fmla="*/ 82 w 82"/>
              <a:gd name="T9" fmla="*/ 21 h 90"/>
              <a:gd name="T10" fmla="*/ 73 w 82"/>
              <a:gd name="T11" fmla="*/ 30 h 90"/>
              <a:gd name="T12" fmla="*/ 64 w 82"/>
              <a:gd name="T13" fmla="*/ 21 h 90"/>
              <a:gd name="T14" fmla="*/ 67 w 82"/>
              <a:gd name="T15" fmla="*/ 15 h 90"/>
              <a:gd name="T16" fmla="*/ 49 w 82"/>
              <a:gd name="T17" fmla="*/ 8 h 90"/>
              <a:gd name="T18" fmla="*/ 16 w 82"/>
              <a:gd name="T19" fmla="*/ 45 h 90"/>
              <a:gd name="T20" fmla="*/ 51 w 82"/>
              <a:gd name="T21" fmla="*/ 83 h 90"/>
              <a:gd name="T22" fmla="*/ 79 w 82"/>
              <a:gd name="T23" fmla="*/ 72 h 90"/>
              <a:gd name="T24" fmla="*/ 82 w 82"/>
              <a:gd name="T25" fmla="*/ 76 h 90"/>
              <a:gd name="T26" fmla="*/ 47 w 82"/>
              <a:gd name="T27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2" h="90">
                <a:moveTo>
                  <a:pt x="47" y="90"/>
                </a:moveTo>
                <a:cubicBezTo>
                  <a:pt x="18" y="90"/>
                  <a:pt x="0" y="70"/>
                  <a:pt x="0" y="46"/>
                </a:cubicBezTo>
                <a:cubicBezTo>
                  <a:pt x="0" y="22"/>
                  <a:pt x="19" y="0"/>
                  <a:pt x="49" y="0"/>
                </a:cubicBezTo>
                <a:cubicBezTo>
                  <a:pt x="57" y="0"/>
                  <a:pt x="68" y="3"/>
                  <a:pt x="75" y="10"/>
                </a:cubicBezTo>
                <a:cubicBezTo>
                  <a:pt x="79" y="13"/>
                  <a:pt x="82" y="17"/>
                  <a:pt x="82" y="21"/>
                </a:cubicBezTo>
                <a:cubicBezTo>
                  <a:pt x="82" y="26"/>
                  <a:pt x="78" y="30"/>
                  <a:pt x="73" y="30"/>
                </a:cubicBezTo>
                <a:cubicBezTo>
                  <a:pt x="68" y="30"/>
                  <a:pt x="64" y="26"/>
                  <a:pt x="64" y="21"/>
                </a:cubicBezTo>
                <a:cubicBezTo>
                  <a:pt x="64" y="19"/>
                  <a:pt x="65" y="17"/>
                  <a:pt x="67" y="15"/>
                </a:cubicBezTo>
                <a:cubicBezTo>
                  <a:pt x="63" y="10"/>
                  <a:pt x="55" y="8"/>
                  <a:pt x="49" y="8"/>
                </a:cubicBezTo>
                <a:cubicBezTo>
                  <a:pt x="28" y="8"/>
                  <a:pt x="16" y="27"/>
                  <a:pt x="16" y="45"/>
                </a:cubicBezTo>
                <a:cubicBezTo>
                  <a:pt x="16" y="65"/>
                  <a:pt x="30" y="83"/>
                  <a:pt x="51" y="83"/>
                </a:cubicBezTo>
                <a:cubicBezTo>
                  <a:pt x="61" y="83"/>
                  <a:pt x="70" y="78"/>
                  <a:pt x="79" y="72"/>
                </a:cubicBezTo>
                <a:cubicBezTo>
                  <a:pt x="82" y="76"/>
                  <a:pt x="82" y="76"/>
                  <a:pt x="82" y="76"/>
                </a:cubicBezTo>
                <a:cubicBezTo>
                  <a:pt x="73" y="86"/>
                  <a:pt x="59" y="90"/>
                  <a:pt x="47" y="9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Freeform 41"/>
          <p:cNvSpPr>
            <a:spLocks noEditPoints="1"/>
          </p:cNvSpPr>
          <p:nvPr userDrawn="1"/>
        </p:nvSpPr>
        <p:spPr bwMode="auto">
          <a:xfrm>
            <a:off x="10790189" y="359278"/>
            <a:ext cx="338368" cy="372384"/>
          </a:xfrm>
          <a:custGeom>
            <a:avLst/>
            <a:gdLst>
              <a:gd name="T0" fmla="*/ 149 w 189"/>
              <a:gd name="T1" fmla="*/ 206 h 208"/>
              <a:gd name="T2" fmla="*/ 189 w 189"/>
              <a:gd name="T3" fmla="*/ 206 h 208"/>
              <a:gd name="T4" fmla="*/ 109 w 189"/>
              <a:gd name="T5" fmla="*/ 0 h 208"/>
              <a:gd name="T6" fmla="*/ 78 w 189"/>
              <a:gd name="T7" fmla="*/ 0 h 208"/>
              <a:gd name="T8" fmla="*/ 0 w 189"/>
              <a:gd name="T9" fmla="*/ 208 h 208"/>
              <a:gd name="T10" fmla="*/ 22 w 189"/>
              <a:gd name="T11" fmla="*/ 208 h 208"/>
              <a:gd name="T12" fmla="*/ 43 w 189"/>
              <a:gd name="T13" fmla="*/ 147 h 208"/>
              <a:gd name="T14" fmla="*/ 128 w 189"/>
              <a:gd name="T15" fmla="*/ 147 h 208"/>
              <a:gd name="T16" fmla="*/ 149 w 189"/>
              <a:gd name="T17" fmla="*/ 206 h 208"/>
              <a:gd name="T18" fmla="*/ 149 w 189"/>
              <a:gd name="T19" fmla="*/ 206 h 208"/>
              <a:gd name="T20" fmla="*/ 50 w 189"/>
              <a:gd name="T21" fmla="*/ 130 h 208"/>
              <a:gd name="T22" fmla="*/ 85 w 189"/>
              <a:gd name="T23" fmla="*/ 33 h 208"/>
              <a:gd name="T24" fmla="*/ 121 w 189"/>
              <a:gd name="T25" fmla="*/ 130 h 208"/>
              <a:gd name="T26" fmla="*/ 50 w 189"/>
              <a:gd name="T27" fmla="*/ 130 h 208"/>
              <a:gd name="T28" fmla="*/ 50 w 189"/>
              <a:gd name="T29" fmla="*/ 13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9" h="208">
                <a:moveTo>
                  <a:pt x="149" y="206"/>
                </a:moveTo>
                <a:lnTo>
                  <a:pt x="189" y="206"/>
                </a:lnTo>
                <a:lnTo>
                  <a:pt x="109" y="0"/>
                </a:lnTo>
                <a:lnTo>
                  <a:pt x="78" y="0"/>
                </a:lnTo>
                <a:lnTo>
                  <a:pt x="0" y="208"/>
                </a:lnTo>
                <a:lnTo>
                  <a:pt x="22" y="208"/>
                </a:lnTo>
                <a:lnTo>
                  <a:pt x="43" y="147"/>
                </a:lnTo>
                <a:lnTo>
                  <a:pt x="128" y="147"/>
                </a:lnTo>
                <a:lnTo>
                  <a:pt x="149" y="206"/>
                </a:lnTo>
                <a:lnTo>
                  <a:pt x="149" y="206"/>
                </a:lnTo>
                <a:close/>
                <a:moveTo>
                  <a:pt x="50" y="130"/>
                </a:moveTo>
                <a:lnTo>
                  <a:pt x="85" y="33"/>
                </a:lnTo>
                <a:lnTo>
                  <a:pt x="121" y="130"/>
                </a:lnTo>
                <a:lnTo>
                  <a:pt x="50" y="130"/>
                </a:lnTo>
                <a:lnTo>
                  <a:pt x="50" y="13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1117170"/>
            <a:ext cx="9588284" cy="501419"/>
          </a:xfrm>
        </p:spPr>
        <p:txBody>
          <a:bodyPr>
            <a:spAutoFit/>
          </a:bodyPr>
          <a:lstStyle>
            <a:lvl1pPr>
              <a:defRPr sz="2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5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1871028"/>
            <a:ext cx="10517717" cy="3916953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94340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8" name="Rectangle 17"/>
          <p:cNvSpPr/>
          <p:nvPr userDrawn="1"/>
        </p:nvSpPr>
        <p:spPr>
          <a:xfrm>
            <a:off x="5761528" y="6229968"/>
            <a:ext cx="6422379" cy="6230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769131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11155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13" imgW="347" imgH="348" progId="TCLayout.ActiveDocument.1">
                  <p:embed/>
                </p:oleObj>
              </mc:Choice>
              <mc:Fallback>
                <p:oleObj name="think-cell Slide" r:id="rId1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818289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AU" dirty="0"/>
              <a:t>Click to edit Master text styles</a:t>
            </a:r>
          </a:p>
          <a:p>
            <a:pPr lvl="1"/>
            <a:r>
              <a:rPr lang="en-AU" dirty="0"/>
              <a:t>Second level</a:t>
            </a:r>
          </a:p>
          <a:p>
            <a:pPr lvl="2"/>
            <a:r>
              <a:rPr lang="en-AU" dirty="0"/>
              <a:t>Third level</a:t>
            </a:r>
          </a:p>
          <a:p>
            <a:pPr lvl="3"/>
            <a:r>
              <a:rPr lang="en-AU" dirty="0"/>
              <a:t>Fourth level</a:t>
            </a:r>
          </a:p>
          <a:p>
            <a:pPr lvl="4"/>
            <a:r>
              <a:rPr lang="en-AU" dirty="0"/>
              <a:t>Fifth level</a:t>
            </a:r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 userDrawn="1"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8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185BC0F5-2411-1147-B326-FC2F786E8983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30414" y="264041"/>
            <a:ext cx="2958073" cy="566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067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93" r:id="rId3"/>
    <p:sldLayoutId id="2147483665" r:id="rId4"/>
    <p:sldLayoutId id="2147483682" r:id="rId5"/>
    <p:sldLayoutId id="2147483679" r:id="rId6"/>
    <p:sldLayoutId id="2147483686" r:id="rId7"/>
    <p:sldLayoutId id="2147483689" r:id="rId8"/>
    <p:sldLayoutId id="2147483692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900" b="1" kern="1200">
          <a:solidFill>
            <a:srgbClr val="3D393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2120C"/>
        </a:buClr>
        <a:buFont typeface="Arial" panose="020B0604020202020204" pitchFamily="34" charset="0"/>
        <a:buChar char="•"/>
        <a:defRPr sz="19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half" idx="1"/>
          </p:nvPr>
        </p:nvSpPr>
        <p:spPr>
          <a:xfrm>
            <a:off x="880242" y="2167320"/>
            <a:ext cx="5596757" cy="3857909"/>
          </a:xfrm>
        </p:spPr>
        <p:txBody>
          <a:bodyPr>
            <a:normAutofit fontScale="92500"/>
          </a:bodyPr>
          <a:lstStyle/>
          <a:p>
            <a:pPr>
              <a:lnSpc>
                <a:spcPct val="120000"/>
              </a:lnSpc>
            </a:pPr>
            <a:r>
              <a:rPr lang="en-AU" dirty="0"/>
              <a:t>When inserting a new slide, select the layout that is most appropriate for the content.</a:t>
            </a:r>
          </a:p>
          <a:p>
            <a:pPr>
              <a:lnSpc>
                <a:spcPct val="120000"/>
              </a:lnSpc>
            </a:pPr>
            <a:r>
              <a:rPr lang="en-US" dirty="0"/>
              <a:t>Create a new slide by clicking the small arrow on the ‘New Slide’ button on the ‘Home’ tab. </a:t>
            </a:r>
            <a:endParaRPr lang="en-AU" dirty="0"/>
          </a:p>
          <a:p>
            <a:pPr>
              <a:lnSpc>
                <a:spcPct val="120000"/>
              </a:lnSpc>
            </a:pPr>
            <a:r>
              <a:rPr lang="en-AU" dirty="0"/>
              <a:t>You can also change the layout of an existing slide: with the slide selected, click the ‘Layout’ button on the ‘Home’ tab, and select from the options.  </a:t>
            </a:r>
          </a:p>
          <a:p>
            <a:pPr>
              <a:lnSpc>
                <a:spcPct val="120000"/>
              </a:lnSpc>
            </a:pPr>
            <a:r>
              <a:rPr lang="en-AU" dirty="0"/>
              <a:t>To edit the footer: </a:t>
            </a:r>
            <a:br>
              <a:rPr lang="en-AU" dirty="0"/>
            </a:br>
            <a:r>
              <a:rPr lang="en-AU" dirty="0"/>
              <a:t>Select ‘Slide Master’ from the ‘View’ tab, edit the footer on the layout you are using. 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struction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4294967295"/>
          </p:nvPr>
        </p:nvSpPr>
        <p:spPr>
          <a:xfrm>
            <a:off x="595921" y="1615344"/>
            <a:ext cx="9588284" cy="55197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AU" sz="2400" dirty="0"/>
              <a:t>Basic PowerPoint Template</a:t>
            </a: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59956" y="1270405"/>
            <a:ext cx="3954341" cy="4754824"/>
          </a:xfrm>
          <a:prstGeom prst="rect">
            <a:avLst/>
          </a:prstGeom>
          <a:ln>
            <a:solidFill>
              <a:schemeClr val="accent3"/>
            </a:solidFill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8191579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4CB8B87-6E03-F34E-B86C-75B3B06E5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907EA32-691F-7740-9350-1E7CFD163F0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57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98AC6EF-A25F-4944-970C-4D28ECD122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AE3C2E-FB01-B243-B8FC-B38ACD966D8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5889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CD5F9A4-C01B-F54D-94C9-1B537A7305D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D1564DD-2142-E94D-A8F7-1D3A1CF6FC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A2FFB86-781A-814D-B1A6-4E271E5347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ED9F3B-ECE3-344F-9010-8DA4020536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1670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16E79D3-53CB-EA4A-8CF6-F95B038C7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65741-0836-3841-B575-4628BA72FB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75EEA28-BACE-E646-B4C8-A669D50E80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7709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26FD64C-8630-D648-BB2B-4919290BA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E801AA4-90C9-5C4A-8E4F-57599690E6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087360A-6D7E-374E-89BB-CBAB8F3B57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CBED52-6A62-FC48-B7FF-8B5CF658E6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5F9FD9-9E6B-9943-9885-1B93DE5581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89BA3-132D-40E1-AAB4-CDCD0A14C216}" type="slidenum">
              <a:rPr lang="en-AU" smtClean="0"/>
              <a:pPr/>
              <a:t>6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F2F4DA-C0D9-9F40-A589-C5CA91C71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irectorate | Office | Faculty | Schoo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955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U Presentation - Widescreen">
  <a:themeElements>
    <a:clrScheme name="ACUColourScheme">
      <a:dk1>
        <a:srgbClr val="3C1053"/>
      </a:dk1>
      <a:lt1>
        <a:srgbClr val="FFFFFF"/>
      </a:lt1>
      <a:dk2>
        <a:srgbClr val="3C1053"/>
      </a:dk2>
      <a:lt2>
        <a:srgbClr val="E8E3DB"/>
      </a:lt2>
      <a:accent1>
        <a:srgbClr val="F2120C"/>
      </a:accent1>
      <a:accent2>
        <a:srgbClr val="3D3935"/>
      </a:accent2>
      <a:accent3>
        <a:srgbClr val="8C857B"/>
      </a:accent3>
      <a:accent4>
        <a:srgbClr val="3C1053"/>
      </a:accent4>
      <a:accent5>
        <a:srgbClr val="E8E3DB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3D393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_16_9_V3.potx" id="{E16E94E0-B844-4464-890E-114F7D70A7EC}" vid="{EAE2E05C-B78E-4561-B400-5F547E6F359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DC8B17FFF79F46AB892AACDE15F09D" ma:contentTypeVersion="1" ma:contentTypeDescription="Create a new document." ma:contentTypeScope="" ma:versionID="a5ba99c893f738a110fead59b8aec54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c96ba11fc0b0f11135d6dc28d8a2ff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E39B029-D635-48B1-87BE-5D6A2007C7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BF8B7FF-5679-4310-BBCF-BEB73C05F83D}">
  <ds:schemaRefs>
    <ds:schemaRef ds:uri="http://schemas.microsoft.com/office/2006/documentManagement/types"/>
    <ds:schemaRef ds:uri="http://purl.org/dc/terms/"/>
    <ds:schemaRef ds:uri="http://purl.org/dc/elements/1.1/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55CA76F-D833-4A94-8712-42A44EF6372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Template_16_9_V3.potx</Template>
  <TotalTime>747</TotalTime>
  <Words>117</Words>
  <Application>Microsoft Macintosh PowerPoint</Application>
  <PresentationFormat>Widescreen</PresentationFormat>
  <Paragraphs>9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ACU Presentation - Widescreen</vt:lpstr>
      <vt:lpstr>think-cell Slide</vt:lpstr>
      <vt:lpstr>Instruction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U Presentation</dc:title>
  <dc:creator>Husnen Rupani;Simone.Byrnes@acu.edu.au</dc:creator>
  <cp:lastModifiedBy>Kelly Waye</cp:lastModifiedBy>
  <cp:revision>120</cp:revision>
  <dcterms:created xsi:type="dcterms:W3CDTF">2017-05-11T09:33:32Z</dcterms:created>
  <dcterms:modified xsi:type="dcterms:W3CDTF">2022-03-27T22:1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DC8B17FFF79F46AB892AACDE15F09D</vt:lpwstr>
  </property>
</Properties>
</file>